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5" r:id="rId2"/>
    <p:sldMasterId id="2147483686" r:id="rId3"/>
    <p:sldMasterId id="2147483701" r:id="rId4"/>
    <p:sldMasterId id="2147483712" r:id="rId5"/>
    <p:sldMasterId id="2147483727" r:id="rId6"/>
  </p:sldMasterIdLst>
  <p:notesMasterIdLst>
    <p:notesMasterId r:id="rId11"/>
  </p:notesMasterIdLst>
  <p:sldIdLst>
    <p:sldId id="4099917" r:id="rId7"/>
    <p:sldId id="4099919" r:id="rId8"/>
    <p:sldId id="4099918" r:id="rId9"/>
    <p:sldId id="4099920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F60"/>
    <a:srgbClr val="16349E"/>
    <a:srgbClr val="0E146D"/>
    <a:srgbClr val="4372C4"/>
    <a:srgbClr val="FF7C00"/>
    <a:srgbClr val="E84B12"/>
    <a:srgbClr val="F30381"/>
    <a:srgbClr val="183CC3"/>
    <a:srgbClr val="1733A7"/>
    <a:srgbClr val="152D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50"/>
    <p:restoredTop sz="94592"/>
  </p:normalViewPr>
  <p:slideViewPr>
    <p:cSldViewPr snapToGrid="0" snapToObjects="1">
      <p:cViewPr>
        <p:scale>
          <a:sx n="135" d="100"/>
          <a:sy n="135" d="100"/>
        </p:scale>
        <p:origin x="392" y="5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untitle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figur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rgbClr val="001F60"/>
                </a:solidFill>
              </a:rPr>
              <a:t>ATO Cases</a:t>
            </a:r>
            <a:r>
              <a:rPr lang="en-GB" baseline="0" dirty="0">
                <a:solidFill>
                  <a:srgbClr val="001F60"/>
                </a:solidFill>
              </a:rPr>
              <a:t> among different months</a:t>
            </a:r>
            <a:endParaRPr lang="en-GB" dirty="0">
              <a:solidFill>
                <a:srgbClr val="001F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figure.xlsx]id_month!$B$1</c:f>
              <c:strCache>
                <c:ptCount val="1"/>
                <c:pt idx="0">
                  <c:v>num_cc_ato</c:v>
                </c:pt>
              </c:strCache>
            </c:strRef>
          </c:tx>
          <c:spPr>
            <a:solidFill>
              <a:srgbClr val="141E7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C6C-4648-A526-BFDF28549C8A}"/>
              </c:ext>
            </c:extLst>
          </c:dPt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B$2:$B$5</c:f>
              <c:numCache>
                <c:formatCode>General</c:formatCode>
                <c:ptCount val="4"/>
                <c:pt idx="0">
                  <c:v>1107</c:v>
                </c:pt>
                <c:pt idx="1">
                  <c:v>914</c:v>
                </c:pt>
                <c:pt idx="2">
                  <c:v>873</c:v>
                </c:pt>
                <c:pt idx="3">
                  <c:v>1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6C-4648-A526-BFDF28549C8A}"/>
            </c:ext>
          </c:extLst>
        </c:ser>
        <c:ser>
          <c:idx val="1"/>
          <c:order val="1"/>
          <c:tx>
            <c:strRef>
              <c:f>[figure.xlsx]id_month!$C$1</c:f>
              <c:strCache>
                <c:ptCount val="1"/>
                <c:pt idx="0">
                  <c:v>num_cc_ato_order</c:v>
                </c:pt>
              </c:strCache>
            </c:strRef>
          </c:tx>
          <c:spPr>
            <a:solidFill>
              <a:srgbClr val="F20567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C$2:$C$5</c:f>
              <c:numCache>
                <c:formatCode>General</c:formatCode>
                <c:ptCount val="4"/>
                <c:pt idx="0">
                  <c:v>702</c:v>
                </c:pt>
                <c:pt idx="1">
                  <c:v>543</c:v>
                </c:pt>
                <c:pt idx="2">
                  <c:v>491</c:v>
                </c:pt>
                <c:pt idx="3">
                  <c:v>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6C-4648-A526-BFDF28549C8A}"/>
            </c:ext>
          </c:extLst>
        </c:ser>
        <c:ser>
          <c:idx val="2"/>
          <c:order val="2"/>
          <c:tx>
            <c:strRef>
              <c:f>[figure.xlsx]id_month!$D$1</c:f>
              <c:strCache>
                <c:ptCount val="1"/>
                <c:pt idx="0">
                  <c:v>num_cc_ato_tag_seller_scam</c:v>
                </c:pt>
              </c:strCache>
            </c:strRef>
          </c:tx>
          <c:spPr>
            <a:solidFill>
              <a:srgbClr val="F66800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D$2:$D$5</c:f>
              <c:numCache>
                <c:formatCode>General</c:formatCode>
                <c:ptCount val="4"/>
                <c:pt idx="0">
                  <c:v>330</c:v>
                </c:pt>
                <c:pt idx="1">
                  <c:v>246</c:v>
                </c:pt>
                <c:pt idx="2">
                  <c:v>156</c:v>
                </c:pt>
                <c:pt idx="3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6C-4648-A526-BFDF28549C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24467327"/>
        <c:axId val="1424824703"/>
      </c:barChart>
      <c:catAx>
        <c:axId val="142446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824703"/>
        <c:crosses val="autoZero"/>
        <c:auto val="1"/>
        <c:lblAlgn val="ctr"/>
        <c:lblOffset val="100"/>
        <c:noMultiLvlLbl val="0"/>
      </c:catAx>
      <c:valAx>
        <c:axId val="1424824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467327"/>
        <c:crosses val="autoZero"/>
        <c:crossBetween val="between"/>
      </c:valAx>
      <c:spPr>
        <a:pattFill prst="pct5">
          <a:fgClr>
            <a:schemeClr val="accent1"/>
          </a:fgClr>
          <a:bgClr>
            <a:schemeClr val="bg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001F60"/>
                </a:solidFill>
              </a:rPr>
              <a:t>ATO Cases among different ven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venture!$B$1</c:f>
              <c:strCache>
                <c:ptCount val="1"/>
                <c:pt idx="0">
                  <c:v>ATO cases among different ventures</c:v>
                </c:pt>
              </c:strCache>
            </c:strRef>
          </c:tx>
          <c:dPt>
            <c:idx val="0"/>
            <c:bubble3D val="0"/>
            <c:spPr>
              <a:solidFill>
                <a:srgbClr val="4372C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78A4-654C-945F-20F168F4DB36}"/>
              </c:ext>
            </c:extLst>
          </c:dPt>
          <c:dPt>
            <c:idx val="1"/>
            <c:bubble3D val="0"/>
            <c:spPr>
              <a:solidFill>
                <a:srgbClr val="1634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78A4-654C-945F-20F168F4DB36}"/>
              </c:ext>
            </c:extLst>
          </c:dPt>
          <c:dPt>
            <c:idx val="2"/>
            <c:bubble3D val="0"/>
            <c:spPr>
              <a:solidFill>
                <a:srgbClr val="0E146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78A4-654C-945F-20F168F4DB36}"/>
              </c:ext>
            </c:extLst>
          </c:dPt>
          <c:dPt>
            <c:idx val="3"/>
            <c:bubble3D val="0"/>
            <c:spPr>
              <a:solidFill>
                <a:srgbClr val="FF7C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78A4-654C-945F-20F168F4DB36}"/>
              </c:ext>
            </c:extLst>
          </c:dPt>
          <c:dPt>
            <c:idx val="4"/>
            <c:bubble3D val="0"/>
            <c:spPr>
              <a:solidFill>
                <a:srgbClr val="E84B1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78A4-654C-945F-20F168F4DB36}"/>
              </c:ext>
            </c:extLst>
          </c:dPt>
          <c:dPt>
            <c:idx val="5"/>
            <c:bubble3D val="0"/>
            <c:spPr>
              <a:solidFill>
                <a:srgbClr val="F3038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78A4-654C-945F-20F168F4DB3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bg2">
                            <a:lumMod val="9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55F1B7-11E2-4944-8890-292633B54CAC}" type="CATEGORYNAME">
                      <a:rPr lang="en-US" sz="1000" smtClean="0"/>
                      <a:pPr>
                        <a:defRPr sz="1000" b="0" i="0" u="none" strike="noStrike" kern="1200" baseline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sz="1000" dirty="0"/>
                      <a:t> (</a:t>
                    </a:r>
                    <a:r>
                      <a:rPr lang="en-US" sz="1000" b="1" dirty="0"/>
                      <a:t>3983 cases</a:t>
                    </a:r>
                    <a:r>
                      <a:rPr lang="en-US" sz="1000" dirty="0"/>
                      <a:t>)</a:t>
                    </a:r>
                    <a:r>
                      <a:rPr lang="en-US" sz="1000" baseline="0" dirty="0"/>
                      <a:t>
</a:t>
                    </a:r>
                    <a:fld id="{DD7BF167-146E-904F-B7EC-76A7D0AA57E3}" type="PERCENTAGE">
                      <a:rPr lang="en-US" sz="1000" baseline="0" dirty="0"/>
                      <a:pPr>
                        <a:defRPr sz="1000" b="0" i="0" u="none" strike="noStrike" kern="1200" baseline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PERCENTAGE]</a:t>
                    </a:fld>
                    <a:endParaRPr lang="en-US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2">
                          <a:lumMod val="9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093586865781683"/>
                      <c:h val="0.223338165450936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8A4-654C-945F-20F168F4DB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9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venture!$A$2:$A$7</c:f>
              <c:strCache>
                <c:ptCount val="6"/>
                <c:pt idx="0">
                  <c:v>ID</c:v>
                </c:pt>
                <c:pt idx="1">
                  <c:v>MY</c:v>
                </c:pt>
                <c:pt idx="2">
                  <c:v>PH</c:v>
                </c:pt>
                <c:pt idx="3">
                  <c:v>SG</c:v>
                </c:pt>
                <c:pt idx="4">
                  <c:v>TH</c:v>
                </c:pt>
                <c:pt idx="5">
                  <c:v>VN</c:v>
                </c:pt>
              </c:strCache>
            </c:strRef>
          </c:cat>
          <c:val>
            <c:numRef>
              <c:f>venture!$B$2:$B$7</c:f>
              <c:numCache>
                <c:formatCode>General</c:formatCode>
                <c:ptCount val="6"/>
                <c:pt idx="0">
                  <c:v>3983</c:v>
                </c:pt>
                <c:pt idx="1">
                  <c:v>212</c:v>
                </c:pt>
                <c:pt idx="2">
                  <c:v>102</c:v>
                </c:pt>
                <c:pt idx="3">
                  <c:v>115</c:v>
                </c:pt>
                <c:pt idx="4">
                  <c:v>174</c:v>
                </c:pt>
                <c:pt idx="5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8A4-654C-945F-20F168F4DB36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C31ED4-C5E5-7147-82DD-0F76E9618B01}" type="datetimeFigureOut">
              <a:rPr lang="en-US" smtClean="0"/>
              <a:t>7/2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88E45-FC3C-9546-888E-7D9DF8D782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84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488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97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2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57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39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3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379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1438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640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7883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421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6920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77638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8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1544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8595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53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81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974134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167136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514565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88665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10198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22531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823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829306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8766251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359835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52449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838044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552669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1489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906836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16185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6346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871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65961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19561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88876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8157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237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88735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492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989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591699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253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884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135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78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9311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4585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0620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0450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983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5275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66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00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787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215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0046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50050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071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26976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2118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5699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714920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718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48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621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4848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391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59573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24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631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70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470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49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781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1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614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636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BC9E9-C210-57AE-F52C-1336E73A80E9}"/>
              </a:ext>
            </a:extLst>
          </p:cNvPr>
          <p:cNvSpPr txBox="1"/>
          <p:nvPr/>
        </p:nvSpPr>
        <p:spPr>
          <a:xfrm>
            <a:off x="-145438" y="2571982"/>
            <a:ext cx="8465524" cy="15010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count Takeover (ATO) Update</a:t>
            </a:r>
            <a:endParaRPr lang="en-US" sz="3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2FF273-2C54-3CE6-0D1F-58C210149A27}"/>
              </a:ext>
            </a:extLst>
          </p:cNvPr>
          <p:cNvSpPr txBox="1"/>
          <p:nvPr/>
        </p:nvSpPr>
        <p:spPr>
          <a:xfrm>
            <a:off x="6252289" y="4073067"/>
            <a:ext cx="2175274" cy="3248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5 Aug 2022</a:t>
            </a:r>
          </a:p>
        </p:txBody>
      </p:sp>
    </p:spTree>
    <p:extLst>
      <p:ext uri="{BB962C8B-B14F-4D97-AF65-F5344CB8AC3E}">
        <p14:creationId xmlns:p14="http://schemas.microsoft.com/office/powerpoint/2010/main" val="4205982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rame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文本框 2">
            <a:extLst>
              <a:ext uri="{FF2B5EF4-FFF2-40B4-BE49-F238E27FC236}">
                <a16:creationId xmlns:a16="http://schemas.microsoft.com/office/drawing/2014/main" id="{E39E5411-81A2-89BE-9C61-238C3B7E6C83}"/>
              </a:ext>
            </a:extLst>
          </p:cNvPr>
          <p:cNvSpPr txBox="1"/>
          <p:nvPr/>
        </p:nvSpPr>
        <p:spPr>
          <a:xfrm>
            <a:off x="616812" y="1182105"/>
            <a:ext cx="10294070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ackground of ATO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2 important MOs of ATO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ig picture for ATO detection; [top-down]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Models result in 2 different scenarios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Login step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Order-create step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Future plan;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060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8648" y="6287678"/>
            <a:ext cx="5467351" cy="567147"/>
          </a:xfrm>
        </p:spPr>
        <p:txBody>
          <a:bodyPr>
            <a:normAutofit/>
          </a:bodyPr>
          <a:lstStyle/>
          <a:p>
            <a:r>
              <a:rPr lang="en-US" dirty="0"/>
              <a:t>‘</a:t>
            </a:r>
            <a:r>
              <a:rPr lang="en-US" dirty="0" err="1"/>
              <a:t>num_cc_ato</a:t>
            </a:r>
            <a:r>
              <a:rPr lang="en-US" dirty="0"/>
              <a:t>': number of CC tickets whose case reasons are ATO;</a:t>
            </a:r>
          </a:p>
          <a:p>
            <a:r>
              <a:rPr lang="en-US" dirty="0"/>
              <a:t>‘</a:t>
            </a:r>
            <a:r>
              <a:rPr lang="en-US" dirty="0" err="1"/>
              <a:t>num_cc_ato_order</a:t>
            </a:r>
            <a:r>
              <a:rPr lang="en-US" dirty="0"/>
              <a:t>’: number of CC tickets which are additionally attached with ‘</a:t>
            </a:r>
            <a:r>
              <a:rPr lang="en-US" dirty="0" err="1"/>
              <a:t>order_id</a:t>
            </a:r>
            <a:r>
              <a:rPr lang="en-US" dirty="0"/>
              <a:t>’;</a:t>
            </a:r>
          </a:p>
          <a:p>
            <a:r>
              <a:rPr lang="en-US" dirty="0"/>
              <a:t>‘</a:t>
            </a:r>
            <a:r>
              <a:rPr lang="en-US" dirty="0" err="1"/>
              <a:t>num_cc_ato_tag_seller_scam</a:t>
            </a:r>
            <a:r>
              <a:rPr lang="en-US" dirty="0"/>
              <a:t>’: number of CC tickets which are tagged with ‘scam seller’;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B04A2-B3CC-D6C4-8F38-31C15FD0D9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478C395-1283-4E41-8724-2D9F689566D8}" type="slidenum">
              <a:rPr lang="en-SG" smtClean="0"/>
              <a:t>3</a:t>
            </a:fld>
            <a:endParaRPr lang="en-S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684594-35EA-3772-F1F3-6D2261986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Backgroun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8EB96EC-D05F-043F-BB60-0747333E6A4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3</a:t>
            </a:fld>
            <a:endParaRPr lang="en-SG" dirty="0"/>
          </a:p>
        </p:txBody>
      </p:sp>
      <p:sp>
        <p:nvSpPr>
          <p:cNvPr id="13" name="文本框 2">
            <a:extLst>
              <a:ext uri="{FF2B5EF4-FFF2-40B4-BE49-F238E27FC236}">
                <a16:creationId xmlns:a16="http://schemas.microsoft.com/office/drawing/2014/main" id="{529F78D5-B47A-7455-1792-8400D04C359F}"/>
              </a:ext>
            </a:extLst>
          </p:cNvPr>
          <p:cNvSpPr txBox="1"/>
          <p:nvPr/>
        </p:nvSpPr>
        <p:spPr>
          <a:xfrm>
            <a:off x="616812" y="1182105"/>
            <a:ext cx="1029407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TO definition: Fake-owners use all tricks to achieve true-owners’ account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im: Use true-owners’ money to </a:t>
            </a:r>
            <a:r>
              <a:rPr lang="en-US" altLang="zh-CN" sz="2300" b="1" dirty="0">
                <a:solidFill>
                  <a:srgbClr val="002060"/>
                </a:solidFill>
              </a:rPr>
              <a:t>make profit directly</a:t>
            </a:r>
            <a:r>
              <a:rPr lang="en-US" altLang="zh-CN" sz="2300" dirty="0">
                <a:solidFill>
                  <a:srgbClr val="002060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Distribution of ATO Cases: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87C0EC7-4580-B691-94BC-8967A0EF1B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7946809"/>
              </p:ext>
            </p:extLst>
          </p:nvPr>
        </p:nvGraphicFramePr>
        <p:xfrm>
          <a:off x="616812" y="2779712"/>
          <a:ext cx="4932836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6C137B10-930D-764A-6DBC-531BE410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0192566"/>
              </p:ext>
            </p:extLst>
          </p:nvPr>
        </p:nvGraphicFramePr>
        <p:xfrm>
          <a:off x="5631465" y="2779712"/>
          <a:ext cx="5197599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54842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1F65C-DA2B-CC44-068D-88B05E3F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A5EFF-5113-B9AB-1D4B-B32C60DAB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F8449-67DA-7EC1-470A-256E4AFCA6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729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Gre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2.xml><?xml version="1.0" encoding="utf-8"?>
<a:theme xmlns:a="http://schemas.openxmlformats.org/drawingml/2006/main" name="1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4.xml><?xml version="1.0" encoding="utf-8"?>
<a:theme xmlns:a="http://schemas.openxmlformats.org/drawingml/2006/main" name="2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6.xml><?xml version="1.0" encoding="utf-8"?>
<a:theme xmlns:a="http://schemas.openxmlformats.org/drawingml/2006/main" name="3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52</TotalTime>
  <Words>161</Words>
  <Application>Microsoft Macintosh PowerPoint</Application>
  <PresentationFormat>Widescreen</PresentationFormat>
  <Paragraphs>2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微软雅黑</vt:lpstr>
      <vt:lpstr>Proxima Nova</vt:lpstr>
      <vt:lpstr>System Font Regular</vt:lpstr>
      <vt:lpstr>Arial</vt:lpstr>
      <vt:lpstr>Calibri</vt:lpstr>
      <vt:lpstr>Calibri Light</vt:lpstr>
      <vt:lpstr>Courier New</vt:lpstr>
      <vt:lpstr>Franklin Gothic Demi</vt:lpstr>
      <vt:lpstr>Franklin Gothic Medium</vt:lpstr>
      <vt:lpstr>Franklin Gothic Medium Cond</vt:lpstr>
      <vt:lpstr>Futura</vt:lpstr>
      <vt:lpstr>Helvetica</vt:lpstr>
      <vt:lpstr>Wingdings</vt:lpstr>
      <vt:lpstr>Theme1</vt:lpstr>
      <vt:lpstr>1_Office Theme</vt:lpstr>
      <vt:lpstr>1_Theme1</vt:lpstr>
      <vt:lpstr>2_Office Theme</vt:lpstr>
      <vt:lpstr>2_Theme1</vt:lpstr>
      <vt:lpstr>3_Office Theme</vt:lpstr>
      <vt:lpstr>think-cell Slide</vt:lpstr>
      <vt:lpstr>PowerPoint Presentation</vt:lpstr>
      <vt:lpstr>Framework</vt:lpstr>
      <vt:lpstr>Backgroun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1</cp:revision>
  <dcterms:created xsi:type="dcterms:W3CDTF">2022-07-21T05:07:49Z</dcterms:created>
  <dcterms:modified xsi:type="dcterms:W3CDTF">2022-07-21T07:40:24Z</dcterms:modified>
</cp:coreProperties>
</file>